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2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4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44"/>
  </p:notesMasterIdLst>
  <p:sldIdLst>
    <p:sldId id="256" r:id="rId2"/>
    <p:sldId id="257" r:id="rId3"/>
    <p:sldId id="258" r:id="rId4"/>
    <p:sldId id="259" r:id="rId5"/>
    <p:sldId id="300" r:id="rId6"/>
    <p:sldId id="302" r:id="rId7"/>
    <p:sldId id="301" r:id="rId8"/>
    <p:sldId id="305" r:id="rId9"/>
    <p:sldId id="311" r:id="rId10"/>
    <p:sldId id="312" r:id="rId11"/>
    <p:sldId id="313" r:id="rId12"/>
    <p:sldId id="303" r:id="rId13"/>
    <p:sldId id="291" r:id="rId14"/>
    <p:sldId id="304" r:id="rId15"/>
    <p:sldId id="293" r:id="rId16"/>
    <p:sldId id="263" r:id="rId17"/>
    <p:sldId id="306" r:id="rId18"/>
    <p:sldId id="264" r:id="rId19"/>
    <p:sldId id="295" r:id="rId20"/>
    <p:sldId id="307" r:id="rId21"/>
    <p:sldId id="294" r:id="rId22"/>
    <p:sldId id="308" r:id="rId23"/>
    <p:sldId id="309" r:id="rId24"/>
    <p:sldId id="296" r:id="rId25"/>
    <p:sldId id="310" r:id="rId26"/>
    <p:sldId id="297" r:id="rId27"/>
    <p:sldId id="266" r:id="rId28"/>
    <p:sldId id="267" r:id="rId29"/>
    <p:sldId id="290" r:id="rId30"/>
    <p:sldId id="269" r:id="rId31"/>
    <p:sldId id="270" r:id="rId32"/>
    <p:sldId id="271" r:id="rId33"/>
    <p:sldId id="272" r:id="rId34"/>
    <p:sldId id="273" r:id="rId35"/>
    <p:sldId id="274" r:id="rId36"/>
    <p:sldId id="275" r:id="rId37"/>
    <p:sldId id="276" r:id="rId38"/>
    <p:sldId id="277" r:id="rId39"/>
    <p:sldId id="278" r:id="rId40"/>
    <p:sldId id="279" r:id="rId41"/>
    <p:sldId id="280" r:id="rId42"/>
    <p:sldId id="299" r:id="rId4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5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931" autoAdjust="0"/>
  </p:normalViewPr>
  <p:slideViewPr>
    <p:cSldViewPr snapToGrid="0" showGuides="1">
      <p:cViewPr>
        <p:scale>
          <a:sx n="75" d="100"/>
          <a:sy n="75" d="100"/>
        </p:scale>
        <p:origin x="1014" y="1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customschemas.google.com/relationships/presentationmetadata" Target="meta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64452FCE-E733-08E5-576E-2D366DD44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EDEAA0CE-1789-9113-B520-C9D0C8394E1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15982ADA-259A-166F-BF84-7D84CB9622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057589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43F57441-7827-1078-1DFF-06DAA5D504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F01A4C97-831F-8281-AA24-418AFB44565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2AABAFBC-2E7C-C30E-10F2-940098C1827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533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Id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By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endParaRPr lang="en-US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BannedUser BU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r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sz="10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09F2147A-73BE-0765-4D0F-0C057DBD568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7947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F866E1FE-5940-69F1-8571-08C9826F8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C2B910D2-5AAE-EC27-1A06-241E89F5AD3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81E03D4B-2C2D-0656-FE6C-6A74C8C18B5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C852986C-1657-6B65-C3CD-EA0E977CE67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26608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6E11CA-8066-93E1-ACC2-0D06DA7D4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09B8EC-E500-626F-2B84-F7DA6F9BDB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8782B3-29B6-803B-00F7-95274AAFE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a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dirty="0">
              <a:highlight>
                <a:srgbClr val="FFFFFF"/>
              </a:highlight>
            </a:endParaRP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UserFiles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UserFiles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f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ileTyp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</a:p>
          <a:p>
            <a:pPr lvl="2"/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Account a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>
              <a:highlight>
                <a:srgbClr val="FFFFFF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1B561B-BB73-3A7C-B8B4-F4CBAF6D2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59321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B098CF9B-4392-2423-902B-6D0024659F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EB62E476-09BF-F575-1FD4-525B982B6FA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AE4B0CF7-6DE4-2510-4637-01BF7E4564A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267BD9F1-B316-13F3-60E7-FF7D91AE798F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2060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208344-C8EA-2D9D-7F78-DD77134D0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E3950F-B8E5-4761-10B7-B3277EF19C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9AA3C-F04A-43AF-176F-099DD17793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Decla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@userId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794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older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older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Own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fa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2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left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ObjectTypeId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1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nd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ObjectId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Consolas" panose="020B0609020204030204" pitchFamily="49" charset="0"/>
              </a:rPr>
              <a:t>Folder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Account a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ileType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onsolas" panose="020B06090202040302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f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onsolas" panose="020B0609020204030204" pitchFamily="49" charset="0"/>
              </a:rPr>
              <a:t> @userId</a:t>
            </a:r>
            <a:endParaRPr lang="en-US" sz="1800" dirty="0">
              <a:highlight>
                <a:srgbClr val="FFFFFF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F2444-07CF-8491-D61F-5E60B4423E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61744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E90BE295-EAB0-0EF9-1325-07DC1C858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D9F4C854-0F60-E213-BCC3-F7959CB98F9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7C374E57-F83A-0E93-69C3-907779536CE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5637004E-CA73-922F-D267-5AD033F49AA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07933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5DBC22-7030-C280-D48D-D7C4ADB2C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3E1D5-16D5-F644-8CD1-4C063A2A3E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61A00-5B59-C99E-3FB0-7D8EC3DAA3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Name</a:t>
            </a:r>
            <a:endParaRPr lang="en-US" sz="1800" dirty="0">
              <a:solidFill>
                <a:schemeClr val="tx1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p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Cascadia Mono" panose="020B0609020000020004" pitchFamily="49" charset="0"/>
              </a:rPr>
              <a:t>Permission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chemeClr val="tx1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11BF2C-EBD6-6873-29A3-526F22FE0F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2689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C12BFD77-8524-86D1-A8DD-6C4794001B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BC0D38DD-674A-8AC6-2103-930F52248F5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80DA165B-557A-5153-08E6-01A05C84E08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55F6F552-54D3-32E9-940C-18777B8E919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71419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34B20-6DD6-04CB-F7CA-516687F4D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05E87-75D3-F4F7-3EC8-CC6F087BF7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17240-AA5E-8D74-3A34-2A4D85B0B6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Account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668DE-A484-A9E8-12B5-B0965FC8D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8728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050C3833-33C9-202F-8B28-A0F796F456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95A17528-D0E4-508F-EF1D-3A061853435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070701BC-D13D-A50A-C748-FD21F69A95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DBF4C3CE-4071-F1F5-1357-51D73076C4C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66447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>
          <a:extLst>
            <a:ext uri="{FF2B5EF4-FFF2-40B4-BE49-F238E27FC236}">
              <a16:creationId xmlns:a16="http://schemas.microsoft.com/office/drawing/2014/main" id="{D0332FFE-54B7-2388-B47D-B70B2F171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>
            <a:extLst>
              <a:ext uri="{FF2B5EF4-FFF2-40B4-BE49-F238E27FC236}">
                <a16:creationId xmlns:a16="http://schemas.microsoft.com/office/drawing/2014/main" id="{B2471B8D-D2E5-B2FE-EBE3-1730EF2172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>
            <a:extLst>
              <a:ext uri="{FF2B5EF4-FFF2-40B4-BE49-F238E27FC236}">
                <a16:creationId xmlns:a16="http://schemas.microsoft.com/office/drawing/2014/main" id="{114603DC-A810-3B55-B00B-4BB4E3B8CB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7" name="Google Shape;257;g344eaf56fbf_2_0:notes">
            <a:extLst>
              <a:ext uri="{FF2B5EF4-FFF2-40B4-BE49-F238E27FC236}">
                <a16:creationId xmlns:a16="http://schemas.microsoft.com/office/drawing/2014/main" id="{8203D89C-BA12-BA91-4DAC-F2CF8F0EA09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28860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5FD648-D76E-FCC4-C377-571E8E6EED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D001A-21F9-2243-4871-CDFB0D41C7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D963EF-D730-F922-956E-3B4B48EFE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B1EE3E-8246-0558-C2BE-40BF416B00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9266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>
          <a:extLst>
            <a:ext uri="{FF2B5EF4-FFF2-40B4-BE49-F238E27FC236}">
              <a16:creationId xmlns:a16="http://schemas.microsoft.com/office/drawing/2014/main" id="{BDA69E48-2577-B8AB-6051-01F394F47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>
            <a:extLst>
              <a:ext uri="{FF2B5EF4-FFF2-40B4-BE49-F238E27FC236}">
                <a16:creationId xmlns:a16="http://schemas.microsoft.com/office/drawing/2014/main" id="{C7DEE33F-826A-78A6-9FFE-0DDFF07E7B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>
            <a:extLst>
              <a:ext uri="{FF2B5EF4-FFF2-40B4-BE49-F238E27FC236}">
                <a16:creationId xmlns:a16="http://schemas.microsoft.com/office/drawing/2014/main" id="{A961FB39-1F02-5925-F6FB-A144B285A5D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0" name="Google Shape;250;g344eaf56fbf_0_44:notes">
            <a:extLst>
              <a:ext uri="{FF2B5EF4-FFF2-40B4-BE49-F238E27FC236}">
                <a16:creationId xmlns:a16="http://schemas.microsoft.com/office/drawing/2014/main" id="{433D0887-AF76-4A81-367B-2DB3FE41B28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3973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65C0A-4737-1E37-53DC-6E3C468F7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2AD736-44AB-5F7F-57AF-534EFF16B2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A49476-A048-4D10-BB7A-73D43CE362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B9472E-A8FE-EF52-63FA-3B0C88EBA8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9822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>
          <a:extLst>
            <a:ext uri="{FF2B5EF4-FFF2-40B4-BE49-F238E27FC236}">
              <a16:creationId xmlns:a16="http://schemas.microsoft.com/office/drawing/2014/main" id="{9363A81C-A56F-762A-44A7-E30AA4190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>
            <a:extLst>
              <a:ext uri="{FF2B5EF4-FFF2-40B4-BE49-F238E27FC236}">
                <a16:creationId xmlns:a16="http://schemas.microsoft.com/office/drawing/2014/main" id="{E5012E0A-0C56-5E1E-9174-1CAB5FDF6D6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>
            <a:extLst>
              <a:ext uri="{FF2B5EF4-FFF2-40B4-BE49-F238E27FC236}">
                <a16:creationId xmlns:a16="http://schemas.microsoft.com/office/drawing/2014/main" id="{225DD7C4-DBDF-9534-F3A3-CB46BFB0AF3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0" name="Google Shape;380;g36f56cd1dea_2_0:notes">
            <a:extLst>
              <a:ext uri="{FF2B5EF4-FFF2-40B4-BE49-F238E27FC236}">
                <a16:creationId xmlns:a16="http://schemas.microsoft.com/office/drawing/2014/main" id="{4742730E-2A60-1CF5-C440-EAE7CE8EBD0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4901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A4397207-091D-4E38-8A6E-D38D42E9BE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467E3DA2-C406-0E06-DA1F-A14AAD2CEAB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AADE2C5A-9DD6-4005-5A03-E471DE19A7E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CB1DA6D4-75C5-C6F2-CBC8-4A90BCEB192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4082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>
          <a:extLst>
            <a:ext uri="{FF2B5EF4-FFF2-40B4-BE49-F238E27FC236}">
              <a16:creationId xmlns:a16="http://schemas.microsoft.com/office/drawing/2014/main" id="{0B39235C-96E3-04B4-5E87-0AE80F6AF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>
            <a:extLst>
              <a:ext uri="{FF2B5EF4-FFF2-40B4-BE49-F238E27FC236}">
                <a16:creationId xmlns:a16="http://schemas.microsoft.com/office/drawing/2014/main" id="{FC8AE221-E83F-74F3-859C-9C0EA5FC7B0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6" name="Google Shape;216;g344eaf56fbf_3_1:notes">
            <a:extLst>
              <a:ext uri="{FF2B5EF4-FFF2-40B4-BE49-F238E27FC236}">
                <a16:creationId xmlns:a16="http://schemas.microsoft.com/office/drawing/2014/main" id="{E985364E-E78D-61A4-AC45-B8D39D05E39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2496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4A7DC268-8114-9BD8-EED5-871B71B420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BE5553D1-388A-82C0-1A97-38E590C5E9E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F3FE105A-15A3-31D1-E39A-A8EB4CF6B5C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F6133782-15AB-04B9-5C17-C3BF7F73312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24027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8013F838-2930-6138-1E49-A196254F6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C856FB1F-E157-FEE7-98D4-26A56CBE93A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EEA5DA76-4440-8EE1-9FE6-ED01BB8FFBD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1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Email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Email,</a:t>
            </a:r>
          </a:p>
          <a:p>
            <a:pPr marL="114300" indent="0">
              <a:buNone/>
            </a:pPr>
            <a:r>
              <a:rPr lang="en-US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dirty="0" err="1">
                <a:solidFill>
                  <a:srgbClr val="000000"/>
                </a:solidFill>
                <a:latin typeface="Consolas" panose="020B0609020204030204" pitchFamily="49" charset="0"/>
              </a:rPr>
              <a:t>a.UserImg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Account a</a:t>
            </a:r>
          </a:p>
          <a:p>
            <a:pPr marL="114300" indent="0">
              <a:buNone/>
            </a:pPr>
            <a:r>
              <a:rPr lang="en-US" sz="12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a</a:t>
            </a:r>
            <a:r>
              <a:rPr lang="en-US" sz="12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@userId </a:t>
            </a: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FF2D779A-3DCC-1C99-6281-FAC1A803014E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4651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>
          <a:extLst>
            <a:ext uri="{FF2B5EF4-FFF2-40B4-BE49-F238E27FC236}">
              <a16:creationId xmlns:a16="http://schemas.microsoft.com/office/drawing/2014/main" id="{3E0E3488-B881-FE22-2362-EAAC17152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>
            <a:extLst>
              <a:ext uri="{FF2B5EF4-FFF2-40B4-BE49-F238E27FC236}">
                <a16:creationId xmlns:a16="http://schemas.microsoft.com/office/drawing/2014/main" id="{51BD2013-D576-6F49-F6E4-CBBC9407547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>
            <a:extLst>
              <a:ext uri="{FF2B5EF4-FFF2-40B4-BE49-F238E27FC236}">
                <a16:creationId xmlns:a16="http://schemas.microsoft.com/office/drawing/2014/main" id="{4D79A1C3-359B-8C30-8FB9-E991CE47E8F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g344eaf56fbf_0_25:notes">
            <a:extLst>
              <a:ext uri="{FF2B5EF4-FFF2-40B4-BE49-F238E27FC236}">
                <a16:creationId xmlns:a16="http://schemas.microsoft.com/office/drawing/2014/main" id="{009D75CF-2503-67FC-CA88-10A155E2D71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1083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4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7" r:id="rId26"/>
    <p:sldLayoutId id="2147483678" r:id="rId27"/>
    <p:sldLayoutId id="2147483679" r:id="rId28"/>
    <p:sldLayoutId id="2147483680" r:id="rId29"/>
    <p:sldLayoutId id="2147483681" r:id="rId30"/>
    <p:sldLayoutId id="2147483682" r:id="rId31"/>
    <p:sldLayoutId id="2147483683" r:id="rId3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9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1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2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86C3BD1B-F7D3-CA78-450C-3045844BA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A42ABF-0BFA-A6AE-462E-4D9CC909E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2363" y="1098000"/>
            <a:ext cx="8727273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1CF82929-C88D-069D-74D9-FB8AF00D8F5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Block User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805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F613EB89-FB29-4489-637C-0A1557C96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5F0F3009-9746-327B-7D05-2D8778F98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999" y="1091906"/>
            <a:ext cx="7721401" cy="5308894"/>
          </a:xfrm>
        </p:spPr>
        <p:txBody>
          <a:bodyPr/>
          <a:lstStyle/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DECLA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@userId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533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Id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ByUserName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endParaRPr lang="en-US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BannedUser BU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d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	JOI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Account Banner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User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r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endParaRPr lang="en-US" sz="18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@userId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U</a:t>
            </a:r>
            <a:r>
              <a:rPr lang="en-US" sz="1800" dirty="0" err="1">
                <a:solidFill>
                  <a:srgbClr val="808080"/>
                </a:solidFill>
                <a:latin typeface="Consolas" panose="020B06090202040302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Consolas" panose="020B0609020204030204" pitchFamily="49" charset="0"/>
              </a:rPr>
              <a:t>BannedAt</a:t>
            </a:r>
            <a:r>
              <a:rPr lang="en-US" sz="18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Consolas" panose="020B06090202040302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latin typeface="Consolas" panose="020B0609020204030204" pitchFamily="49" charset="0"/>
              </a:rPr>
              <a:t>;</a:t>
            </a:r>
            <a:endParaRPr lang="en-US" dirty="0">
              <a:latin typeface="+mj-lt"/>
            </a:endParaRPr>
          </a:p>
        </p:txBody>
      </p:sp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924B0494-96E9-149A-90C0-ED6E24C676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337601" cy="9271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lvl="0"/>
            <a:r>
              <a:rPr lang="en-GB" dirty="0"/>
              <a:t>Block User Feature Query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536720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9DEF3623-EC13-D940-7DB8-B8AA2F4D0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EE43CC-8280-4B94-DBA9-25E21538A8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635" y="1098000"/>
            <a:ext cx="104727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E4E838BD-2929-D7C1-4D94-43A7AC2383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My Drive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594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EABF97-AD47-E779-68F5-D510B68C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A8C3CD0-7F70-3002-F3A8-B84EE03EA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2514F0F-CE5E-EC6E-5D69-9018E70E1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697BF7C-F446-8A44-6D0C-394ADDAE817A}"/>
              </a:ext>
            </a:extLst>
          </p:cNvPr>
          <p:cNvSpPr txBox="1"/>
          <p:nvPr/>
        </p:nvSpPr>
        <p:spPr>
          <a:xfrm>
            <a:off x="7190930" y="1128965"/>
            <a:ext cx="2061882" cy="41237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fol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B3AC0A-B1B8-43D1-77E0-989326FA1BA6}"/>
              </a:ext>
            </a:extLst>
          </p:cNvPr>
          <p:cNvSpPr txBox="1"/>
          <p:nvPr/>
        </p:nvSpPr>
        <p:spPr>
          <a:xfrm>
            <a:off x="974115" y="1098771"/>
            <a:ext cx="1631577" cy="41237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fi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5645FA-1F11-5164-9226-4BE78E55C751}"/>
              </a:ext>
            </a:extLst>
          </p:cNvPr>
          <p:cNvSpPr txBox="1"/>
          <p:nvPr/>
        </p:nvSpPr>
        <p:spPr>
          <a:xfrm>
            <a:off x="7136836" y="1566472"/>
            <a:ext cx="493083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Account 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a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+mj-lt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</a:p>
          <a:p>
            <a:endParaRPr lang="en-US" sz="1800" dirty="0"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C0371D-ED94-FC15-8FDB-28223CE8FEC6}"/>
              </a:ext>
            </a:extLst>
          </p:cNvPr>
          <p:cNvSpPr txBox="1"/>
          <p:nvPr/>
        </p:nvSpPr>
        <p:spPr>
          <a:xfrm>
            <a:off x="974115" y="1566472"/>
            <a:ext cx="55990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UserFiles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UserFiles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f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ileTyp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</a:p>
          <a:p>
            <a:pPr lvl="2"/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chemeClr val="tx1"/>
                </a:solidFill>
                <a:highlight>
                  <a:srgbClr val="FFFFFF"/>
                </a:highlight>
                <a:latin typeface="+mj-lt"/>
              </a:rPr>
              <a:t>ft.Ic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pPr lvl="2"/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Account a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OwnerId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a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+mj-lt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  <a:endParaRPr lang="en-GB" sz="1800" noProof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endParaRPr lang="en-US" sz="1800" dirty="0">
              <a:latin typeface="+mj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A2A131-F75B-B736-616B-856CD2662A6B}"/>
              </a:ext>
            </a:extLst>
          </p:cNvPr>
          <p:cNvCxnSpPr>
            <a:cxnSpLocks/>
          </p:cNvCxnSpPr>
          <p:nvPr/>
        </p:nvCxnSpPr>
        <p:spPr>
          <a:xfrm>
            <a:off x="6573186" y="1455821"/>
            <a:ext cx="0" cy="37297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212;g344eaf56fbf_0_25">
            <a:extLst>
              <a:ext uri="{FF2B5EF4-FFF2-40B4-BE49-F238E27FC236}">
                <a16:creationId xmlns:a16="http://schemas.microsoft.com/office/drawing/2014/main" id="{F0DFDFEB-E088-72D5-EEFB-0E6B601ED7E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490001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My Drive Screen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027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3C963964-C4BF-60C5-1313-BFD39904F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622948-439B-BBFD-5274-8575D10E63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810" y="1098000"/>
            <a:ext cx="1037837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0396EDB3-FE09-C498-4DF3-BDD6BA36E4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ared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0292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65591-ED09-3AC0-F745-6ADE77CF7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BC4BEC-E48B-C474-8FF1-AC2EA80586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7415CFE-1A8F-BE3F-715A-CF72E013C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E14A415-C1DD-6048-EF7D-D36BF98A7F2D}"/>
              </a:ext>
            </a:extLst>
          </p:cNvPr>
          <p:cNvSpPr txBox="1"/>
          <p:nvPr/>
        </p:nvSpPr>
        <p:spPr>
          <a:xfrm>
            <a:off x="1547667" y="1720840"/>
            <a:ext cx="940106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794</a:t>
            </a:r>
          </a:p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File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	</a:t>
            </a:r>
            <a:r>
              <a:rPr lang="en-US" sz="1800" dirty="0" err="1"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FolderId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latin typeface="+mj-lt"/>
            </a:endParaRPr>
          </a:p>
          <a:p>
            <a:r>
              <a:rPr lang="en-US" sz="1800" dirty="0">
                <a:latin typeface="+mj-lt"/>
              </a:rPr>
              <a:t>	</a:t>
            </a:r>
            <a:r>
              <a:rPr lang="en-US" sz="1800" dirty="0" err="1"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chemeClr val="tx1"/>
                </a:solidFill>
                <a:latin typeface="+mj-lt"/>
              </a:rPr>
              <a:t>Folder</a:t>
            </a:r>
            <a:r>
              <a:rPr lang="en-US" sz="1800" dirty="0" err="1">
                <a:latin typeface="+mj-lt"/>
              </a:rPr>
              <a:t>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Owner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t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Name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fa</a:t>
            </a: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lef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Fil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2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bject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Id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left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latin typeface="+mj-lt"/>
              </a:rPr>
              <a:t> Folder f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ObjectTypeId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latin typeface="+mj-lt"/>
              </a:rPr>
              <a:t> 1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ObjectId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latin typeface="+mj-lt"/>
              </a:rPr>
              <a:t> </a:t>
            </a:r>
            <a:r>
              <a:rPr lang="en-US" sz="1800" dirty="0" err="1"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latin typeface="+mj-lt"/>
              </a:rPr>
              <a:t>FolderId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lef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Account a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sz="18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ft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t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ileTypeId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f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@userId</a:t>
            </a:r>
            <a:endParaRPr lang="en-US" sz="1800" dirty="0">
              <a:latin typeface="+mj-lt"/>
            </a:endParaRPr>
          </a:p>
        </p:txBody>
      </p:sp>
      <p:sp>
        <p:nvSpPr>
          <p:cNvPr id="9" name="Google Shape;212;g344eaf56fbf_0_25">
            <a:extLst>
              <a:ext uri="{FF2B5EF4-FFF2-40B4-BE49-F238E27FC236}">
                <a16:creationId xmlns:a16="http://schemas.microsoft.com/office/drawing/2014/main" id="{A212FDED-D54D-8492-DECB-160A9757C79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ared Screen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240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6EDA15B-CB09-0903-D6F7-ABCACD407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193" y="1098000"/>
            <a:ext cx="6877613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hare Screen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DF26B501-349F-8D4D-5F5B-41E941942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80F339-7ABF-201C-1F96-0FCF82EB11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5670" y="1098000"/>
            <a:ext cx="952066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CF2A6985-12EC-433D-7926-EF1D3B0EF8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hare With Me Screen</a:t>
            </a:r>
          </a:p>
        </p:txBody>
      </p:sp>
    </p:spTree>
    <p:extLst>
      <p:ext uri="{BB962C8B-B14F-4D97-AF65-F5344CB8AC3E}">
        <p14:creationId xmlns:p14="http://schemas.microsoft.com/office/powerpoint/2010/main" val="23361379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FC9E6F-2100-505F-1572-1CF3C9135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85" y="1098000"/>
            <a:ext cx="1097143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g344eaf56fbf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Share feature</a:t>
            </a:r>
            <a:endParaRPr lang="en-US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01D08-C4AE-5F93-72F0-BC2650C48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1132E3-94A8-B541-3696-7A7D21F30E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45B9ADD-0B04-1A50-1E8C-C37DCA432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73B47F-FCAF-D10E-1396-F83D56255DE0}"/>
              </a:ext>
            </a:extLst>
          </p:cNvPr>
          <p:cNvSpPr txBox="1"/>
          <p:nvPr/>
        </p:nvSpPr>
        <p:spPr>
          <a:xfrm>
            <a:off x="431999" y="1098000"/>
            <a:ext cx="8991600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selec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cas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t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ls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chemeClr val="tx1"/>
                </a:solidFill>
                <a:highlight>
                  <a:srgbClr val="FFFFFF"/>
                </a:highlight>
                <a:latin typeface="+mn-lt"/>
              </a:rPr>
              <a:t>UserFileName</a:t>
            </a:r>
            <a:endParaRPr lang="en-US" sz="1600" dirty="0">
              <a:solidFill>
                <a:schemeClr val="tx1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[Name]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p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highlight>
                  <a:srgbClr val="FFFFFF"/>
                </a:highlight>
                <a:latin typeface="+mn-lt"/>
              </a:rPr>
              <a:t>Permission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Permission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u2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>
                <a:solidFill>
                  <a:schemeClr val="tx1"/>
                </a:solidFill>
                <a:highlight>
                  <a:srgbClr val="FFFFFF"/>
                </a:highlight>
                <a:latin typeface="+mn-lt"/>
              </a:rPr>
              <a:t>User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rNam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Created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Create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Expires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Expires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dUs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Share s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Account u </a:t>
            </a:r>
            <a:r>
              <a:rPr lang="fi-FI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su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 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u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Account u2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har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u2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Permission p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Permission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p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older f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Fil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i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2</a:t>
            </a: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r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u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Expires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&gt;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FF00FF"/>
                </a:solidFill>
                <a:highlight>
                  <a:srgbClr val="FFFFFF"/>
                </a:highlight>
                <a:latin typeface="+mn-lt"/>
              </a:rPr>
              <a:t>GETDAT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()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rd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by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s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CreatedA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ESC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;</a:t>
            </a:r>
            <a:endParaRPr lang="en-GB" sz="1600" noProof="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Google Shape;259;g344eaf56fbf_2_0">
            <a:extLst>
              <a:ext uri="{FF2B5EF4-FFF2-40B4-BE49-F238E27FC236}">
                <a16:creationId xmlns:a16="http://schemas.microsoft.com/office/drawing/2014/main" id="{6DC23A6C-94C7-3E35-9393-64E369B8E69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Query for Share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624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g36f56cd1dea_2_17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0154" r="30154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Google Drive functions and database design as follow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/>
              <a:t>Resolve Permission in Google Drive</a:t>
            </a:r>
            <a:endParaRPr sz="2600" dirty="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 dirty="0" err="1"/>
              <a:t>Fulltext</a:t>
            </a:r>
            <a:r>
              <a:rPr lang="en-GB" sz="2600" dirty="0"/>
              <a:t> Search with BM25</a:t>
            </a:r>
            <a:endParaRPr sz="2600" dirty="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 dirty="0"/>
              <a:t>Q&amp;A</a:t>
            </a:r>
            <a:endParaRPr sz="2600" dirty="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 dirty="0"/>
              <a:t>Agenda</a:t>
            </a:r>
            <a:endParaRPr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5124964B-95C7-63B1-58C7-061DF6302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29E604-F69B-FF42-5945-3EC8CA74CE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7B5F1C43-A50D-8B11-ADCD-876B2AA854A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 err="1"/>
              <a:t>ActionRecent</a:t>
            </a:r>
            <a:r>
              <a:rPr lang="en-GB" dirty="0"/>
              <a:t> Screen</a:t>
            </a:r>
          </a:p>
        </p:txBody>
      </p:sp>
    </p:spTree>
    <p:extLst>
      <p:ext uri="{BB962C8B-B14F-4D97-AF65-F5344CB8AC3E}">
        <p14:creationId xmlns:p14="http://schemas.microsoft.com/office/powerpoint/2010/main" val="1288329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B5359-F9AB-410C-374B-72E6C3A2A7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C9C3737-D70E-5C3F-BF19-454BD285CF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C3D673-5D0E-7BED-1DD4-1558FB156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D1C8447-DC78-ED91-26B5-889CB4BE0DB5}"/>
              </a:ext>
            </a:extLst>
          </p:cNvPr>
          <p:cNvSpPr txBox="1"/>
          <p:nvPr/>
        </p:nvSpPr>
        <p:spPr>
          <a:xfrm>
            <a:off x="854439" y="1409076"/>
            <a:ext cx="705766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select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cas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t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ls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[Name]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case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the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Path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ls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Path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e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[Name]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Na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leType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,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  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ateTi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as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LastAccesse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from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Recent r</a:t>
            </a:r>
          </a:p>
          <a:p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Account u </a:t>
            </a:r>
            <a:r>
              <a:rPr lang="fi-FI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r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 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u</a:t>
            </a:r>
            <a:r>
              <a:rPr lang="fi-FI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fi-FI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older f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left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Fil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i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an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Object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2</a:t>
            </a:r>
          </a:p>
          <a:p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joi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leTyp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ft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n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ileType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ft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Id</a:t>
            </a:r>
            <a:endParaRPr lang="en-US" sz="1600" dirty="0">
              <a:solidFill>
                <a:srgbClr val="000000"/>
              </a:solidFill>
              <a:highlight>
                <a:srgbClr val="FFFFFF"/>
              </a:highlight>
              <a:latin typeface="+mn-lt"/>
            </a:endParaRP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wher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UserId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=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1</a:t>
            </a:r>
          </a:p>
          <a:p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order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by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 err="1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r</a:t>
            </a:r>
            <a:r>
              <a:rPr lang="en-US" sz="1600" dirty="0" err="1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.</a:t>
            </a:r>
            <a:r>
              <a:rPr lang="en-US" sz="1600" dirty="0" err="1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ateTime</a:t>
            </a:r>
            <a:r>
              <a:rPr lang="en-US" sz="1600" dirty="0">
                <a:solidFill>
                  <a:srgbClr val="000000"/>
                </a:solidFill>
                <a:highlight>
                  <a:srgbClr val="FFFFFF"/>
                </a:highlight>
                <a:latin typeface="+mn-lt"/>
              </a:rPr>
              <a:t> </a:t>
            </a:r>
            <a:r>
              <a:rPr lang="en-US" sz="1600" dirty="0">
                <a:solidFill>
                  <a:srgbClr val="0000FF"/>
                </a:solidFill>
                <a:highlight>
                  <a:srgbClr val="FFFFFF"/>
                </a:highlight>
                <a:latin typeface="+mn-lt"/>
              </a:rPr>
              <a:t>DESC</a:t>
            </a:r>
            <a:r>
              <a:rPr lang="en-US" sz="1600" dirty="0">
                <a:solidFill>
                  <a:srgbClr val="808080"/>
                </a:solidFill>
                <a:highlight>
                  <a:srgbClr val="FFFFFF"/>
                </a:highlight>
                <a:latin typeface="+mn-lt"/>
              </a:rPr>
              <a:t>;</a:t>
            </a:r>
            <a:endParaRPr lang="en-GB" sz="1600" noProof="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Google Shape;252;g344eaf56fbf_0_44">
            <a:extLst>
              <a:ext uri="{FF2B5EF4-FFF2-40B4-BE49-F238E27FC236}">
                <a16:creationId xmlns:a16="http://schemas.microsoft.com/office/drawing/2014/main" id="{3E002CA4-7536-7510-612B-1D48CA5AB8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Query For </a:t>
            </a:r>
            <a:r>
              <a:rPr lang="en-GB" dirty="0" err="1"/>
              <a:t>ActionRecent</a:t>
            </a:r>
            <a:r>
              <a:rPr lang="en-GB" dirty="0"/>
              <a:t> Screen</a:t>
            </a:r>
          </a:p>
        </p:txBody>
      </p:sp>
    </p:spTree>
    <p:extLst>
      <p:ext uri="{BB962C8B-B14F-4D97-AF65-F5344CB8AC3E}">
        <p14:creationId xmlns:p14="http://schemas.microsoft.com/office/powerpoint/2010/main" val="40044156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8AD47259-C9CB-BFF4-FCB8-4C1220934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2E2D5E2-EB7D-A4F8-CC24-62BF1CD7A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986" y="1098000"/>
            <a:ext cx="9974027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62685362-3975-E313-168D-730C188246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rash Screen</a:t>
            </a:r>
          </a:p>
        </p:txBody>
      </p:sp>
    </p:spTree>
    <p:extLst>
      <p:ext uri="{BB962C8B-B14F-4D97-AF65-F5344CB8AC3E}">
        <p14:creationId xmlns:p14="http://schemas.microsoft.com/office/powerpoint/2010/main" val="1655341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>
          <a:extLst>
            <a:ext uri="{FF2B5EF4-FFF2-40B4-BE49-F238E27FC236}">
              <a16:creationId xmlns:a16="http://schemas.microsoft.com/office/drawing/2014/main" id="{0A9CCB35-F6BE-84C3-6757-42DFF2A88E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002402-D35E-0D2D-83C7-AC41D23758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237" y="1098000"/>
            <a:ext cx="7917525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g344eaf56fbf_2_0">
            <a:extLst>
              <a:ext uri="{FF2B5EF4-FFF2-40B4-BE49-F238E27FC236}">
                <a16:creationId xmlns:a16="http://schemas.microsoft.com/office/drawing/2014/main" id="{2517E4C7-C351-55AA-D034-482AC1B32A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Trash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6302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C36AEA-A1A4-BA7F-07C4-FA0ED08B4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4CD312F-0719-07E6-12F6-D27DC8791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AEBF9C5-4C16-5DA2-1A35-18CD50384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FDA6E51-2D80-CD41-BDCD-3ADCCACDC9C6}"/>
              </a:ext>
            </a:extLst>
          </p:cNvPr>
          <p:cNvSpPr txBox="1"/>
          <p:nvPr/>
        </p:nvSpPr>
        <p:spPr>
          <a:xfrm>
            <a:off x="215900" y="2056179"/>
            <a:ext cx="60960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  <a:latin typeface="+mj-lt"/>
              </a:rPr>
              <a:t>-- 1.select file have been delete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704</a:t>
            </a: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SELECT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rash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File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RemovedDateti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IsPermanent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Trash t</a:t>
            </a: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Fil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f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2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ile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;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865CC9-CB24-B263-B3EF-0BDB6B1C098C}"/>
              </a:ext>
            </a:extLst>
          </p:cNvPr>
          <p:cNvSpPr txBox="1"/>
          <p:nvPr/>
        </p:nvSpPr>
        <p:spPr>
          <a:xfrm>
            <a:off x="6311900" y="2056179"/>
            <a:ext cx="56642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000"/>
                </a:solidFill>
                <a:latin typeface="+mj-lt"/>
              </a:rPr>
              <a:t>-- 2.select folder have been delete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1</a:t>
            </a: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lder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rash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lderNa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RemovedDatetime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,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IsPermanent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Trash t</a:t>
            </a: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Folder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Type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1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AN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Object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FolderId</a:t>
            </a:r>
            <a:endParaRPr lang="en-US" sz="1400" dirty="0">
              <a:solidFill>
                <a:srgbClr val="000000"/>
              </a:solidFill>
              <a:latin typeface="+mj-lt"/>
            </a:endParaRPr>
          </a:p>
          <a:p>
            <a:r>
              <a:rPr lang="en-US" sz="14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t</a:t>
            </a:r>
            <a:r>
              <a:rPr lang="en-US" sz="14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4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 @userId</a:t>
            </a:r>
            <a:r>
              <a:rPr lang="en-US" sz="1400" dirty="0">
                <a:solidFill>
                  <a:srgbClr val="808080"/>
                </a:solidFill>
                <a:latin typeface="+mj-lt"/>
              </a:rPr>
              <a:t>;</a:t>
            </a:r>
            <a:endParaRPr lang="en-US" dirty="0">
              <a:latin typeface="+mj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2C19564-10C2-4401-966A-0A9D352CE02E}"/>
              </a:ext>
            </a:extLst>
          </p:cNvPr>
          <p:cNvCxnSpPr/>
          <p:nvPr/>
        </p:nvCxnSpPr>
        <p:spPr>
          <a:xfrm>
            <a:off x="5816600" y="1435100"/>
            <a:ext cx="0" cy="4343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oogle Shape;259;g344eaf56fbf_2_0">
            <a:extLst>
              <a:ext uri="{FF2B5EF4-FFF2-40B4-BE49-F238E27FC236}">
                <a16:creationId xmlns:a16="http://schemas.microsoft.com/office/drawing/2014/main" id="{2464ADF1-1E0B-7E94-AC2F-37FAE9B6085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9906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rash Screen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8030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>
          <a:extLst>
            <a:ext uri="{FF2B5EF4-FFF2-40B4-BE49-F238E27FC236}">
              <a16:creationId xmlns:a16="http://schemas.microsoft.com/office/drawing/2014/main" id="{2B6965E6-5D42-F385-45AE-635056142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E5D21DE-456C-0598-6097-241CE6E48B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259" y="1098000"/>
            <a:ext cx="948148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g344eaf56fbf_0_44">
            <a:extLst>
              <a:ext uri="{FF2B5EF4-FFF2-40B4-BE49-F238E27FC236}">
                <a16:creationId xmlns:a16="http://schemas.microsoft.com/office/drawing/2014/main" id="{972D8AD2-614C-41E3-91E1-AD7BA43800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orage Screen</a:t>
            </a:r>
          </a:p>
        </p:txBody>
      </p:sp>
    </p:spTree>
    <p:extLst>
      <p:ext uri="{BB962C8B-B14F-4D97-AF65-F5344CB8AC3E}">
        <p14:creationId xmlns:p14="http://schemas.microsoft.com/office/powerpoint/2010/main" val="21478667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8E650E-9D5B-CBA3-40C0-2C83DC4008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4C7F111-2715-6993-0108-10850FD26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2AF49-55FE-0D5C-FA89-105EF794F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EDD39C0-0C6D-7D57-9FB8-388F40AF829B}"/>
              </a:ext>
            </a:extLst>
          </p:cNvPr>
          <p:cNvSpPr txBox="1"/>
          <p:nvPr/>
        </p:nvSpPr>
        <p:spPr>
          <a:xfrm>
            <a:off x="1426551" y="1804930"/>
            <a:ext cx="1655482" cy="418353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stor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6971DD-8074-F455-2E88-8BE3026C1C38}"/>
              </a:ext>
            </a:extLst>
          </p:cNvPr>
          <p:cNvSpPr txBox="1"/>
          <p:nvPr/>
        </p:nvSpPr>
        <p:spPr>
          <a:xfrm>
            <a:off x="7691019" y="1846765"/>
            <a:ext cx="2324847" cy="376518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  <a:latin typeface="+mj-lt"/>
              </a:rPr>
              <a:t>Get list file by siz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F2988D-C6BF-FAD3-6BD8-381D80653513}"/>
              </a:ext>
            </a:extLst>
          </p:cNvPr>
          <p:cNvSpPr txBox="1"/>
          <p:nvPr/>
        </p:nvSpPr>
        <p:spPr>
          <a:xfrm>
            <a:off x="998303" y="2881234"/>
            <a:ext cx="43771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ACcoun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9DD975-61DC-D28E-C192-99549962518A}"/>
              </a:ext>
            </a:extLst>
          </p:cNvPr>
          <p:cNvSpPr txBox="1"/>
          <p:nvPr/>
        </p:nvSpPr>
        <p:spPr>
          <a:xfrm>
            <a:off x="7554002" y="3046126"/>
            <a:ext cx="412229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highlight>
                  <a:srgbClr val="FFFFFF"/>
                </a:highlight>
                <a:latin typeface="+mj-lt"/>
              </a:rPr>
              <a:t>User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Fil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Account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;</a:t>
            </a:r>
            <a:endParaRPr lang="en-GB" sz="1800" noProof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CD4CFD-5A2C-47CA-5613-16188E829742}"/>
              </a:ext>
            </a:extLst>
          </p:cNvPr>
          <p:cNvCxnSpPr/>
          <p:nvPr/>
        </p:nvCxnSpPr>
        <p:spPr>
          <a:xfrm>
            <a:off x="6096000" y="1638300"/>
            <a:ext cx="0" cy="5041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Google Shape;252;g344eaf56fbf_0_44">
            <a:extLst>
              <a:ext uri="{FF2B5EF4-FFF2-40B4-BE49-F238E27FC236}">
                <a16:creationId xmlns:a16="http://schemas.microsoft.com/office/drawing/2014/main" id="{29C90F50-277C-E15B-79F0-1AB5B13D104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torage Screen Query</a:t>
            </a:r>
          </a:p>
        </p:txBody>
      </p:sp>
    </p:spTree>
    <p:extLst>
      <p:ext uri="{BB962C8B-B14F-4D97-AF65-F5344CB8AC3E}">
        <p14:creationId xmlns:p14="http://schemas.microsoft.com/office/powerpoint/2010/main" val="18915103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8F0170F-9B3C-CF13-805A-FBB31DF366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489" y="1098000"/>
            <a:ext cx="11239022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Product Item Screen</a:t>
            </a:r>
            <a:endParaRPr lang="en-US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7FB12A-7D40-5318-4235-9700A91E9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3959" y="1098000"/>
            <a:ext cx="9404081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9" name="Google Shape;289;g36f56cd1dea_1_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Product Feature</a:t>
            </a:r>
            <a:endParaRPr lang="en-US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C698703-79D7-E5C0-EDD2-48DF762D9843}"/>
              </a:ext>
            </a:extLst>
          </p:cNvPr>
          <p:cNvSpPr txBox="1"/>
          <p:nvPr/>
        </p:nvSpPr>
        <p:spPr>
          <a:xfrm>
            <a:off x="742013" y="1663908"/>
            <a:ext cx="1003591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+mj-lt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+mj-lt"/>
              </a:rPr>
              <a:t> 199</a:t>
            </a:r>
            <a:endParaRPr lang="en-GB" sz="1800" noProof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Google Shape;289;g36f56cd1dea_1_4">
            <a:extLst>
              <a:ext uri="{FF2B5EF4-FFF2-40B4-BE49-F238E27FC236}">
                <a16:creationId xmlns:a16="http://schemas.microsoft.com/office/drawing/2014/main" id="{572E1ACC-825B-F1A4-D4CD-859E3D46504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Product Feature Qu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C81EB63-BC42-B5EF-DAEB-ED097323CE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240" y="1098000"/>
            <a:ext cx="972151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First Screen</a:t>
            </a:r>
            <a:endParaRPr lang="en-US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Resolve permission problem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in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Google Drive</a:t>
            </a:r>
            <a:endParaRPr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dirty="0"/>
              <a:t>How to score in BM25 ?</a:t>
            </a:r>
            <a:endParaRPr dirty="0"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WHAT IS BM25 ?</a:t>
            </a:r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B6AF0C-0137-3780-F446-858BE06BD587}"/>
              </a:ext>
            </a:extLst>
          </p:cNvPr>
          <p:cNvSpPr txBox="1"/>
          <p:nvPr/>
        </p:nvSpPr>
        <p:spPr>
          <a:xfrm>
            <a:off x="406400" y="1866900"/>
            <a:ext cx="113792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k_1</a:t>
            </a:r>
            <a:r>
              <a:rPr lang="en-US" sz="3000" dirty="0">
                <a:solidFill>
                  <a:schemeClr val="bg2"/>
                </a:solidFill>
              </a:rPr>
              <a:t>: A parameter (typically 1.2 to 2.0) controlling the impact of term frequency. Higher values allow more influence from frequent terms.</a:t>
            </a:r>
          </a:p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b</a:t>
            </a:r>
            <a:r>
              <a:rPr lang="en-US" sz="3000" dirty="0">
                <a:solidFill>
                  <a:schemeClr val="bg2"/>
                </a:solidFill>
              </a:rPr>
              <a:t>: A parameter (typically 0.75) controlling the effect of document length normalization. b=0 disables length normalization, while fully normalizes by document length.</a:t>
            </a:r>
          </a:p>
          <a:p>
            <a:endParaRPr lang="en-US" sz="3000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5A1D13-CDA4-6092-1C05-094742EC4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4320"/>
            <a:ext cx="12192000" cy="5547359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of First Screen</a:t>
            </a:r>
            <a:endParaRPr lang="en-US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D520FC1-A6BA-050C-56D9-0046CA1FAE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2170" y="1098000"/>
            <a:ext cx="6127659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 lang="en-US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>
          <a:extLst>
            <a:ext uri="{FF2B5EF4-FFF2-40B4-BE49-F238E27FC236}">
              <a16:creationId xmlns:a16="http://schemas.microsoft.com/office/drawing/2014/main" id="{6FF1C766-C1CD-006B-DCFF-E3BA2A9305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>
            <a:extLst>
              <a:ext uri="{FF2B5EF4-FFF2-40B4-BE49-F238E27FC236}">
                <a16:creationId xmlns:a16="http://schemas.microsoft.com/office/drawing/2014/main" id="{C19FA53F-0143-8F3A-DB98-00037169DA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QL Implement Full Text Search BM2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B7B6EB-2B69-598D-F648-6AFEF6AF15CA}"/>
              </a:ext>
            </a:extLst>
          </p:cNvPr>
          <p:cNvSpPr txBox="1"/>
          <p:nvPr/>
        </p:nvSpPr>
        <p:spPr>
          <a:xfrm>
            <a:off x="172233" y="998511"/>
            <a:ext cx="564436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FF"/>
                </a:solidFill>
              </a:rPr>
              <a:t>SELECT</a:t>
            </a:r>
            <a:r>
              <a:rPr lang="en-US" dirty="0"/>
              <a:t> 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	</a:t>
            </a:r>
            <a:r>
              <a:rPr lang="en-US" dirty="0" err="1">
                <a:latin typeface="+mj-lt"/>
              </a:rPr>
              <a:t>s.ObjectTypeId</a:t>
            </a:r>
            <a:r>
              <a:rPr lang="en-US" dirty="0">
                <a:latin typeface="+mj-lt"/>
              </a:rPr>
              <a:t>, </a:t>
            </a:r>
          </a:p>
          <a:p>
            <a:r>
              <a:rPr lang="en-US" dirty="0">
                <a:latin typeface="+mj-lt"/>
              </a:rPr>
              <a:t>	</a:t>
            </a:r>
            <a:r>
              <a:rPr lang="en-US" dirty="0" err="1">
                <a:latin typeface="+mj-lt"/>
              </a:rPr>
              <a:t>s.ObjectId</a:t>
            </a:r>
            <a:r>
              <a:rPr lang="en-US" dirty="0">
                <a:latin typeface="+mj-lt"/>
              </a:rPr>
              <a:t>,  </a:t>
            </a:r>
          </a:p>
          <a:p>
            <a:r>
              <a:rPr lang="en-US" dirty="0">
                <a:latin typeface="+mj-lt"/>
              </a:rPr>
              <a:t>	</a:t>
            </a:r>
            <a:r>
              <a:rPr lang="en-US" dirty="0" err="1">
                <a:latin typeface="+mj-lt"/>
              </a:rPr>
              <a:t>s.Term</a:t>
            </a:r>
            <a:r>
              <a:rPr lang="en-US" dirty="0">
                <a:latin typeface="+mj-lt"/>
              </a:rPr>
              <a:t>, </a:t>
            </a:r>
          </a:p>
          <a:p>
            <a:r>
              <a:rPr lang="en-US" dirty="0">
                <a:latin typeface="+mj-lt"/>
              </a:rPr>
              <a:t>	t.BM25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@TextQuery </a:t>
            </a:r>
            <a:r>
              <a:rPr lang="en-US" dirty="0" err="1">
                <a:solidFill>
                  <a:srgbClr val="0000FF"/>
                </a:solidFill>
                <a:latin typeface="+mj-lt"/>
              </a:rPr>
              <a:t>nvarchar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50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00"/>
                </a:solidFill>
                <a:latin typeface="+mj-lt"/>
              </a:rPr>
              <a:t>'software'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;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WITH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erm</a:t>
            </a: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dbo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n_TokenizeTex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@TextQuery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)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 err="1">
                <a:solidFill>
                  <a:srgbClr val="000000"/>
                </a:solidFill>
                <a:latin typeface="+mj-lt"/>
              </a:rPr>
              <a:t>AllMatche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ContentId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*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MatchingTerms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earchIndex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s</a:t>
            </a: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q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q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GROUP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B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ContentId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HAVING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*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&gt;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0</a:t>
            </a: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9A248D-CA70-D439-09DB-3B456A87CE85}"/>
              </a:ext>
            </a:extLst>
          </p:cNvPr>
          <p:cNvSpPr txBox="1"/>
          <p:nvPr/>
        </p:nvSpPr>
        <p:spPr>
          <a:xfrm>
            <a:off x="5923767" y="998511"/>
            <a:ext cx="6096000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serFileName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ContentChunk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SUM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Bm25Score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otalBm25Score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   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MatchedTerms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   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FF00FF"/>
                </a:solidFill>
                <a:latin typeface="+mj-lt"/>
              </a:rPr>
              <a:t>COUNT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*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talQueryTerms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AllMatche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am</a:t>
            </a:r>
          </a:p>
          <a:p>
            <a:r>
              <a:rPr lang="fr-FR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ileContent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>
                <a:solidFill>
                  <a:srgbClr val="0000FF"/>
                </a:solidFill>
                <a:latin typeface="+mj-lt"/>
              </a:rPr>
              <a:t>ON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am</a:t>
            </a:r>
            <a:r>
              <a:rPr lang="fr-FR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ileContentId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>
                <a:solidFill>
                  <a:srgbClr val="808080"/>
                </a:solidFill>
                <a:latin typeface="+mj-lt"/>
              </a:rPr>
              <a:t>=</a:t>
            </a:r>
            <a:r>
              <a:rPr lang="fr-FR" dirty="0">
                <a:solidFill>
                  <a:srgbClr val="000000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fr-FR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fr-FR" dirty="0" err="1">
                <a:solidFill>
                  <a:srgbClr val="000000"/>
                </a:solidFill>
                <a:latin typeface="+mj-lt"/>
              </a:rPr>
              <a:t>ContentId</a:t>
            </a:r>
            <a:endParaRPr lang="fr-FR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earchIndex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s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ContentId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ContentId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808080"/>
                </a:solidFill>
                <a:latin typeface="+mj-lt"/>
              </a:rPr>
              <a:t>joi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serFile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on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s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er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IN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 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(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erm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TokenizedQuery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GROUP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B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ileId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fc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ContentChunk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,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f</a:t>
            </a:r>
            <a:r>
              <a:rPr lang="en-US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UserFileName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FF"/>
                </a:solidFill>
                <a:latin typeface="+mj-lt"/>
              </a:rPr>
              <a:t>ORDER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BY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 TotalBm25Score </a:t>
            </a:r>
            <a:r>
              <a:rPr lang="en-US" dirty="0">
                <a:solidFill>
                  <a:srgbClr val="0000FF"/>
                </a:solidFill>
                <a:latin typeface="+mj-lt"/>
              </a:rPr>
              <a:t>DESC</a:t>
            </a:r>
            <a:r>
              <a:rPr lang="en-US" dirty="0">
                <a:solidFill>
                  <a:srgbClr val="808080"/>
                </a:solidFill>
                <a:latin typeface="+mj-lt"/>
              </a:rPr>
              <a:t>;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FROM </a:t>
            </a:r>
            <a:r>
              <a:rPr lang="en-US" dirty="0" err="1">
                <a:latin typeface="+mj-lt"/>
              </a:rPr>
              <a:t>SearchIndex</a:t>
            </a:r>
            <a:r>
              <a:rPr lang="en-US" dirty="0">
                <a:latin typeface="+mj-lt"/>
              </a:rPr>
              <a:t> s</a:t>
            </a:r>
          </a:p>
          <a:p>
            <a:r>
              <a:rPr lang="en-US" dirty="0">
                <a:latin typeface="+mj-lt"/>
              </a:rPr>
              <a:t>join TermBM25 t on </a:t>
            </a:r>
            <a:r>
              <a:rPr lang="en-US" dirty="0" err="1">
                <a:latin typeface="+mj-lt"/>
              </a:rPr>
              <a:t>s.Term</a:t>
            </a:r>
            <a:r>
              <a:rPr lang="en-US" dirty="0">
                <a:latin typeface="+mj-lt"/>
              </a:rPr>
              <a:t> = </a:t>
            </a:r>
            <a:r>
              <a:rPr lang="en-US" dirty="0" err="1">
                <a:latin typeface="+mj-lt"/>
              </a:rPr>
              <a:t>t.Term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left join Folder f on </a:t>
            </a:r>
            <a:r>
              <a:rPr lang="en-US" dirty="0" err="1">
                <a:latin typeface="+mj-lt"/>
              </a:rPr>
              <a:t>f.Id</a:t>
            </a:r>
            <a:r>
              <a:rPr lang="en-US" dirty="0">
                <a:latin typeface="+mj-lt"/>
              </a:rPr>
              <a:t> = </a:t>
            </a:r>
            <a:r>
              <a:rPr lang="en-US" dirty="0" err="1">
                <a:latin typeface="+mj-lt"/>
              </a:rPr>
              <a:t>s.ObjectId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s.ObjectTypeId</a:t>
            </a:r>
            <a:r>
              <a:rPr lang="en-US" dirty="0">
                <a:latin typeface="+mj-lt"/>
              </a:rPr>
              <a:t> = 1</a:t>
            </a:r>
          </a:p>
          <a:p>
            <a:r>
              <a:rPr lang="en-US" dirty="0">
                <a:latin typeface="+mj-lt"/>
              </a:rPr>
              <a:t>left join Files fi on </a:t>
            </a:r>
            <a:r>
              <a:rPr lang="en-US" dirty="0" err="1">
                <a:latin typeface="+mj-lt"/>
              </a:rPr>
              <a:t>fi.Id</a:t>
            </a:r>
            <a:r>
              <a:rPr lang="en-US" dirty="0">
                <a:latin typeface="+mj-lt"/>
              </a:rPr>
              <a:t> = </a:t>
            </a:r>
            <a:r>
              <a:rPr lang="en-US" dirty="0" err="1">
                <a:latin typeface="+mj-lt"/>
              </a:rPr>
              <a:t>s.ObjectId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s.ObjectTypeId</a:t>
            </a:r>
            <a:r>
              <a:rPr lang="en-US" dirty="0">
                <a:latin typeface="+mj-lt"/>
              </a:rPr>
              <a:t> = 2</a:t>
            </a:r>
          </a:p>
          <a:p>
            <a:r>
              <a:rPr lang="en-US" dirty="0">
                <a:latin typeface="+mj-lt"/>
              </a:rPr>
              <a:t>WHERE </a:t>
            </a:r>
            <a:r>
              <a:rPr lang="en-US" dirty="0" err="1">
                <a:latin typeface="+mj-lt"/>
              </a:rPr>
              <a:t>t.Term</a:t>
            </a:r>
            <a:r>
              <a:rPr lang="en-US" dirty="0">
                <a:latin typeface="+mj-lt"/>
              </a:rPr>
              <a:t> IN ('report')</a:t>
            </a:r>
          </a:p>
          <a:p>
            <a:r>
              <a:rPr lang="en-US" dirty="0">
                <a:latin typeface="+mj-lt"/>
              </a:rPr>
              <a:t>ORDER BY t.BM25 DESC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561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B9A73FD2-B9F4-2C89-1443-41F90FBE4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7900FD7-8143-2C88-4D56-C78547E524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5663" y="1098000"/>
            <a:ext cx="968067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6552BCBC-6B7B-A4B9-325C-69EA1CFDCD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Setting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967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>
          <a:extLst>
            <a:ext uri="{FF2B5EF4-FFF2-40B4-BE49-F238E27FC236}">
              <a16:creationId xmlns:a16="http://schemas.microsoft.com/office/drawing/2014/main" id="{80E0C0C2-2B76-C181-D5C1-14932B66DE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98D4B4-D3EE-130B-3DDB-214922D130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999" y="1098000"/>
            <a:ext cx="9216001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8" name="Google Shape;218;g344eaf56fbf_3_1">
            <a:extLst>
              <a:ext uri="{FF2B5EF4-FFF2-40B4-BE49-F238E27FC236}">
                <a16:creationId xmlns:a16="http://schemas.microsoft.com/office/drawing/2014/main" id="{42A6E18C-9C39-CD5C-CF6C-9254DEC9268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Database Structure For Setting Scre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442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531E1719-B302-3DDF-19BC-533A7BDB52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6F0F3C-FF08-3AE1-7495-DAECC5F1ED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368" y="1098000"/>
            <a:ext cx="1010526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337860C7-24D7-22CB-909E-D43B980B56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Account Scre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5961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F23E8979-BC4D-AD19-81A2-67AF96C941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phone&#10;&#10;AI-generated content may be incorrect.">
            <a:extLst>
              <a:ext uri="{FF2B5EF4-FFF2-40B4-BE49-F238E27FC236}">
                <a16:creationId xmlns:a16="http://schemas.microsoft.com/office/drawing/2014/main" id="{7C83FA11-12AC-A06F-54C6-7A3B31346C2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515" r="19690" b="1"/>
          <a:stretch>
            <a:fillRect/>
          </a:stretch>
        </p:blipFill>
        <p:spPr>
          <a:xfrm>
            <a:off x="6096000" y="1098000"/>
            <a:ext cx="6096000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BA78B965-4ED3-30C4-0923-24185EF37E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</p:spPr>
        <p:txBody>
          <a:bodyPr/>
          <a:lstStyle/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Decla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@userId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in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1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select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Nam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Name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,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Email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0000FF"/>
                </a:solidFill>
                <a:latin typeface="+mj-lt"/>
              </a:rPr>
              <a:t>as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Email,</a:t>
            </a:r>
          </a:p>
          <a:p>
            <a:pPr marL="114300" indent="0">
              <a:buNone/>
            </a:pPr>
            <a:r>
              <a:rPr lang="en-US" dirty="0">
                <a:solidFill>
                  <a:srgbClr val="000000"/>
                </a:solidFill>
                <a:latin typeface="+mj-lt"/>
              </a:rPr>
              <a:t>	</a:t>
            </a:r>
            <a:r>
              <a:rPr lang="en-US" dirty="0" err="1">
                <a:solidFill>
                  <a:srgbClr val="000000"/>
                </a:solidFill>
                <a:latin typeface="+mj-lt"/>
              </a:rPr>
              <a:t>a.UserImg</a:t>
            </a:r>
            <a:endParaRPr lang="en-US" sz="1800" dirty="0">
              <a:solidFill>
                <a:srgbClr val="000000"/>
              </a:solidFill>
              <a:latin typeface="+mj-lt"/>
            </a:endParaRP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from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Account a</a:t>
            </a:r>
          </a:p>
          <a:p>
            <a:pPr marL="114300" indent="0">
              <a:buNone/>
            </a:pPr>
            <a:r>
              <a:rPr lang="en-US" sz="1800" dirty="0">
                <a:solidFill>
                  <a:srgbClr val="0000FF"/>
                </a:solidFill>
                <a:latin typeface="+mj-lt"/>
              </a:rPr>
              <a:t>where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a</a:t>
            </a:r>
            <a:r>
              <a:rPr lang="en-US" sz="1800" dirty="0" err="1">
                <a:solidFill>
                  <a:srgbClr val="808080"/>
                </a:solidFill>
                <a:latin typeface="+mj-lt"/>
              </a:rPr>
              <a:t>.</a:t>
            </a:r>
            <a:r>
              <a:rPr lang="en-US" sz="1800" dirty="0" err="1">
                <a:solidFill>
                  <a:srgbClr val="000000"/>
                </a:solidFill>
                <a:latin typeface="+mj-lt"/>
              </a:rPr>
              <a:t>UserId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800" dirty="0">
                <a:solidFill>
                  <a:srgbClr val="808080"/>
                </a:solidFill>
                <a:latin typeface="+mj-lt"/>
              </a:rPr>
              <a:t>=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@userId </a:t>
            </a:r>
            <a:endParaRPr lang="en-US" dirty="0">
              <a:latin typeface="+mj-lt"/>
            </a:endParaRPr>
          </a:p>
        </p:txBody>
      </p:sp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82E62576-C6D0-1A9A-2BF8-45A3B3BE55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10236001" cy="9271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>
                <a:latin typeface="+mj-lt"/>
              </a:rPr>
              <a:t>Query For Account Screen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85493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>
          <a:extLst>
            <a:ext uri="{FF2B5EF4-FFF2-40B4-BE49-F238E27FC236}">
              <a16:creationId xmlns:a16="http://schemas.microsoft.com/office/drawing/2014/main" id="{6EC48049-D889-FAFB-3B8F-799FCF476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4580E63-EB63-7F25-C94C-08E44B8F27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3073" y="1098000"/>
            <a:ext cx="9365854" cy="57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g344eaf56fbf_0_25">
            <a:extLst>
              <a:ext uri="{FF2B5EF4-FFF2-40B4-BE49-F238E27FC236}">
                <a16:creationId xmlns:a16="http://schemas.microsoft.com/office/drawing/2014/main" id="{8491D497-8C75-077C-A768-97CD6FFFEC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</p:spPr>
        <p:txBody>
          <a:bodyPr spcFirstLastPara="1" wrap="square" lIns="0" tIns="0" rIns="0" bIns="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Block User Fea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939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7</TotalTime>
  <Words>2548</Words>
  <Application>Microsoft Office PowerPoint</Application>
  <PresentationFormat>Widescreen</PresentationFormat>
  <Paragraphs>433</Paragraphs>
  <Slides>42</Slides>
  <Notes>4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8" baseType="lpstr">
      <vt:lpstr>Arial</vt:lpstr>
      <vt:lpstr>Calibri</vt:lpstr>
      <vt:lpstr>Cascadia Mono</vt:lpstr>
      <vt:lpstr>Consolas</vt:lpstr>
      <vt:lpstr>bbv template EN</vt:lpstr>
      <vt:lpstr>think-cell Slide</vt:lpstr>
      <vt:lpstr>PowerPoint Presentation</vt:lpstr>
      <vt:lpstr>Agenda</vt:lpstr>
      <vt:lpstr>First Screen</vt:lpstr>
      <vt:lpstr>Database Structure of First Screen</vt:lpstr>
      <vt:lpstr>Setting Screen</vt:lpstr>
      <vt:lpstr>Database Structure For Setting Screen</vt:lpstr>
      <vt:lpstr>Account Screen</vt:lpstr>
      <vt:lpstr>Query For Account Screen</vt:lpstr>
      <vt:lpstr>Block User Feature</vt:lpstr>
      <vt:lpstr>Database Structure of Block User Feature</vt:lpstr>
      <vt:lpstr>Block User Feature Query</vt:lpstr>
      <vt:lpstr>My Drive Screen</vt:lpstr>
      <vt:lpstr>My Drive Screen Query</vt:lpstr>
      <vt:lpstr>Stared Screen</vt:lpstr>
      <vt:lpstr>Stared Screen Query</vt:lpstr>
      <vt:lpstr>Share Screen</vt:lpstr>
      <vt:lpstr>Share With Me Screen</vt:lpstr>
      <vt:lpstr>Database Structure of Share feature</vt:lpstr>
      <vt:lpstr>Query for Share feature</vt:lpstr>
      <vt:lpstr>ActionRecent Screen</vt:lpstr>
      <vt:lpstr>Query For ActionRecent Screen</vt:lpstr>
      <vt:lpstr>Trash Screen</vt:lpstr>
      <vt:lpstr>Database Structure of Trash Screen</vt:lpstr>
      <vt:lpstr>Trash Screen Query</vt:lpstr>
      <vt:lpstr>Storage Screen</vt:lpstr>
      <vt:lpstr>Storage Screen Query</vt:lpstr>
      <vt:lpstr>Product Item Screen</vt:lpstr>
      <vt:lpstr>Database Structure of Product Feature</vt:lpstr>
      <vt:lpstr>Product Feature Query</vt:lpstr>
      <vt:lpstr>Resolve permission problem in Google Drive</vt:lpstr>
      <vt:lpstr>Add column path to table folder</vt:lpstr>
      <vt:lpstr>PowerPoint Presentation</vt:lpstr>
      <vt:lpstr>WHAT IS BM25 ?</vt:lpstr>
      <vt:lpstr>PowerPoint Presentation</vt:lpstr>
      <vt:lpstr>PowerPoint Presentation</vt:lpstr>
      <vt:lpstr>HOW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  <vt:lpstr>SQL Implement Full Text Search BM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Huy Phan</cp:lastModifiedBy>
  <cp:revision>26</cp:revision>
  <dcterms:created xsi:type="dcterms:W3CDTF">2025-07-10T03:51:23Z</dcterms:created>
  <dcterms:modified xsi:type="dcterms:W3CDTF">2025-08-08T09:08:54Z</dcterms:modified>
</cp:coreProperties>
</file>